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"/>
  </p:notesMasterIdLst>
  <p:sldIdLst>
    <p:sldId id="2507" r:id="rId5"/>
  </p:sldIdLst>
  <p:sldSz cx="12192000" cy="6858000"/>
  <p:notesSz cx="6735763" cy="9866313"/>
  <p:custDataLst>
    <p:tags r:id="rId7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wa KANAI" initials="MK" lastIdx="1" clrIdx="0">
    <p:extLst>
      <p:ext uri="{19B8F6BF-5375-455C-9EA6-DF929625EA0E}">
        <p15:presenceInfo xmlns:p15="http://schemas.microsoft.com/office/powerpoint/2012/main" userId="S-1-5-21-3750469678-2469261091-2607287669-4325" providerId="AD"/>
      </p:ext>
    </p:extLst>
  </p:cmAuthor>
  <p:cmAuthor id="2" name="百田 顕児" initials="百田" lastIdx="1" clrIdx="1">
    <p:extLst>
      <p:ext uri="{19B8F6BF-5375-455C-9EA6-DF929625EA0E}">
        <p15:presenceInfo xmlns:p15="http://schemas.microsoft.com/office/powerpoint/2012/main" userId="S-1-12-1-8545426-1210261987-986032771-294565528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6666FF"/>
    <a:srgbClr val="9999FF"/>
    <a:srgbClr val="FFB685"/>
    <a:srgbClr val="FFC489"/>
    <a:srgbClr val="FFCC99"/>
    <a:srgbClr val="FF3670"/>
    <a:srgbClr val="FF3D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1C129AE-AF90-E4CF-BBFD-93ED5A94ED9A}" v="8" dt="2025-05-29T02:32:39.02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78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tsuhiro Hamano_濱野 充宏" userId="S::522103@gakken.co.jp::333a5d21-b9bf-406a-9ac3-dddf1dc106e9" providerId="AD" clId="Web-{71C129AE-AF90-E4CF-BBFD-93ED5A94ED9A}"/>
    <pc:docChg chg="modSld">
      <pc:chgData name="Mitsuhiro Hamano_濱野 充宏" userId="S::522103@gakken.co.jp::333a5d21-b9bf-406a-9ac3-dddf1dc106e9" providerId="AD" clId="Web-{71C129AE-AF90-E4CF-BBFD-93ED5A94ED9A}" dt="2025-05-29T02:32:36.526" v="2" actId="20577"/>
      <pc:docMkLst>
        <pc:docMk/>
      </pc:docMkLst>
      <pc:sldChg chg="modSp">
        <pc:chgData name="Mitsuhiro Hamano_濱野 充宏" userId="S::522103@gakken.co.jp::333a5d21-b9bf-406a-9ac3-dddf1dc106e9" providerId="AD" clId="Web-{71C129AE-AF90-E4CF-BBFD-93ED5A94ED9A}" dt="2025-05-29T02:32:36.526" v="2" actId="20577"/>
        <pc:sldMkLst>
          <pc:docMk/>
          <pc:sldMk cId="322320136" sldId="2507"/>
        </pc:sldMkLst>
        <pc:spChg chg="mod">
          <ac:chgData name="Mitsuhiro Hamano_濱野 充宏" userId="S::522103@gakken.co.jp::333a5d21-b9bf-406a-9ac3-dddf1dc106e9" providerId="AD" clId="Web-{71C129AE-AF90-E4CF-BBFD-93ED5A94ED9A}" dt="2025-05-29T02:32:36.526" v="2" actId="20577"/>
          <ac:spMkLst>
            <pc:docMk/>
            <pc:sldMk cId="322320136" sldId="2507"/>
            <ac:spMk id="28" creationId="{00000000-0000-0000-0000-000000000000}"/>
          </ac:spMkLst>
        </pc:spChg>
      </pc:sldChg>
    </pc:docChg>
  </pc:docChgLst>
  <pc:docChgLst>
    <pc:chgData name="濱野　充宏" clId="Web-{E59F6E4D-3670-4724-B39F-FC358EBCA323}"/>
    <pc:docChg chg="modSld">
      <pc:chgData name="濱野　充宏" userId="" providerId="" clId="Web-{E59F6E4D-3670-4724-B39F-FC358EBCA323}" dt="2024-02-12T23:58:37.371" v="0"/>
      <pc:docMkLst>
        <pc:docMk/>
      </pc:docMkLst>
      <pc:sldChg chg="delSp">
        <pc:chgData name="濱野　充宏" userId="" providerId="" clId="Web-{E59F6E4D-3670-4724-B39F-FC358EBCA323}" dt="2024-02-12T23:58:37.371" v="0"/>
        <pc:sldMkLst>
          <pc:docMk/>
          <pc:sldMk cId="3631818108" sldId="834"/>
        </pc:sldMkLst>
        <pc:picChg chg="del">
          <ac:chgData name="濱野　充宏" userId="" providerId="" clId="Web-{E59F6E4D-3670-4724-B39F-FC358EBCA323}" dt="2024-02-12T23:58:37.371" v="0"/>
          <ac:picMkLst>
            <pc:docMk/>
            <pc:sldMk cId="3631818108" sldId="834"/>
            <ac:picMk id="430084" creationId="{1C567318-D393-749E-0879-261464D1240C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792BFA-8DCD-D64F-AD6B-066BE56AB471}" type="datetimeFigureOut">
              <a:rPr kumimoji="1" lang="ja-JP" altLang="en-US" smtClean="0"/>
              <a:t>2025/5/30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10B303-A4A3-B04C-8A18-D4DF7DA9691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27909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e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2CEC3B0-9ECA-E8AC-8481-51FC803D5F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422666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スライド" r:id="rId4" imgW="7772400" imgH="10058400" progId="TCLayout.ActiveDocument.1">
                  <p:embed/>
                </p:oleObj>
              </mc:Choice>
              <mc:Fallback>
                <p:oleObj name="think-cellスライド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CEC3B0-9ECA-E8AC-8481-51FC803D5F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テキスト プレースホルダー 12">
            <a:extLst>
              <a:ext uri="{FF2B5EF4-FFF2-40B4-BE49-F238E27FC236}">
                <a16:creationId xmlns:a16="http://schemas.microsoft.com/office/drawing/2014/main" id="{9A4A6FC3-853C-7262-C246-DE88BBFBC9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43354" y="4028792"/>
            <a:ext cx="10105292" cy="1317758"/>
          </a:xfrm>
        </p:spPr>
        <p:txBody>
          <a:bodyPr anchor="t">
            <a:no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endParaRPr kumimoji="1" lang="ja-JP" altLang="en-US"/>
          </a:p>
        </p:txBody>
      </p:sp>
      <p:sp>
        <p:nvSpPr>
          <p:cNvPr id="3" name="テキスト プレースホルダー 12">
            <a:extLst>
              <a:ext uri="{FF2B5EF4-FFF2-40B4-BE49-F238E27FC236}">
                <a16:creationId xmlns:a16="http://schemas.microsoft.com/office/drawing/2014/main" id="{8D36882E-55A7-0845-1514-2620007BB1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8640" y="997527"/>
            <a:ext cx="11094720" cy="2643985"/>
          </a:xfr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6000" b="1"/>
            </a:lvl1pPr>
          </a:lstStyle>
          <a:p>
            <a:pPr lvl="0"/>
            <a:endParaRPr kumimoji="1" lang="ja-JP" altLang="en-US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1112C7B8-D0D1-BC70-4A4C-B6455345FFF9}"/>
              </a:ext>
            </a:extLst>
          </p:cNvPr>
          <p:cNvCxnSpPr>
            <a:cxnSpLocks/>
          </p:cNvCxnSpPr>
          <p:nvPr userDrawn="1"/>
        </p:nvCxnSpPr>
        <p:spPr>
          <a:xfrm>
            <a:off x="997793" y="3695971"/>
            <a:ext cx="10184327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図 12">
            <a:extLst>
              <a:ext uri="{FF2B5EF4-FFF2-40B4-BE49-F238E27FC236}">
                <a16:creationId xmlns:a16="http://schemas.microsoft.com/office/drawing/2014/main" id="{983D0958-32DB-560A-A416-B71D622AF5E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42334" y="327371"/>
            <a:ext cx="1649428" cy="353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928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アスピレーション&amp;行動指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1532191-7C81-CB0F-CDD9-47584AEA06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63542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スライド" r:id="rId4" imgW="7772400" imgH="10058400" progId="TCLayout.ActiveDocument.1">
                  <p:embed/>
                </p:oleObj>
              </mc:Choice>
              <mc:Fallback>
                <p:oleObj name="think-cellスライド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532191-7C81-CB0F-CDD9-47584AEA06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図 13">
            <a:extLst>
              <a:ext uri="{FF2B5EF4-FFF2-40B4-BE49-F238E27FC236}">
                <a16:creationId xmlns:a16="http://schemas.microsoft.com/office/drawing/2014/main" id="{7105A640-297E-E2C3-0E4E-BA8ACDD7EA8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867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CFEE79E-77B3-3DF4-8BF0-BB347BDDF3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99257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スライド" r:id="rId4" imgW="7772400" imgH="10058400" progId="TCLayout.ActiveDocument.1">
                  <p:embed/>
                </p:oleObj>
              </mc:Choice>
              <mc:Fallback>
                <p:oleObj name="think-cellスライド" r:id="rId4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FEE79E-77B3-3DF4-8BF0-BB347BDDF3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図 22">
            <a:extLst>
              <a:ext uri="{FF2B5EF4-FFF2-40B4-BE49-F238E27FC236}">
                <a16:creationId xmlns:a16="http://schemas.microsoft.com/office/drawing/2014/main" id="{932C37B6-47F8-199D-32F4-9BE0AC23381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043CF975-ECEC-2247-FC41-30E5CAFACD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5089" y="6578398"/>
            <a:ext cx="2743200" cy="302821"/>
          </a:xfrm>
        </p:spPr>
        <p:txBody>
          <a:bodyPr/>
          <a:lstStyle/>
          <a:p>
            <a:fld id="{438E1DEF-3611-9F46-807B-685101301AA6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11" name="テキスト プレースホルダー 10">
            <a:extLst>
              <a:ext uri="{FF2B5EF4-FFF2-40B4-BE49-F238E27FC236}">
                <a16:creationId xmlns:a16="http://schemas.microsoft.com/office/drawing/2014/main" id="{AB073500-E457-3CB8-477F-34A28EFAE5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26757" y="1900052"/>
            <a:ext cx="9940953" cy="4301050"/>
          </a:xfrm>
        </p:spPr>
        <p:txBody>
          <a:bodyPr>
            <a:normAutofit/>
          </a:bodyPr>
          <a:lstStyle>
            <a:lvl1pPr marL="457200" indent="-457200">
              <a:buFont typeface="+mj-lt"/>
              <a:buAutoNum type="arabicPeriod"/>
              <a:defRPr sz="2400" b="1" i="0">
                <a:latin typeface="Yu Gothic" panose="020B0400000000000000" pitchFamily="34" charset="-128"/>
                <a:ea typeface="Yu Gothic" panose="020B0400000000000000" pitchFamily="34" charset="-128"/>
              </a:defRPr>
            </a:lvl1pPr>
            <a:lvl2pPr marL="914400" indent="-457200">
              <a:buFont typeface="+mj-ea"/>
              <a:buAutoNum type="circleNumDbPlain"/>
              <a:defRPr sz="2000" b="1" i="0">
                <a:latin typeface="Yu Gothic" panose="020B0400000000000000" pitchFamily="34" charset="-128"/>
                <a:ea typeface="Yu Gothic" panose="020B0400000000000000" pitchFamily="34" charset="-128"/>
              </a:defRPr>
            </a:lvl2pPr>
            <a:lvl3pPr marL="1257300" indent="-342900">
              <a:buFont typeface="+mj-lt"/>
              <a:buAutoNum type="alphaUcParenR"/>
              <a:defRPr sz="1800" b="1" i="0">
                <a:latin typeface="Yu Gothic" panose="020B0400000000000000" pitchFamily="34" charset="-128"/>
                <a:ea typeface="Yu Gothic" panose="020B0400000000000000" pitchFamily="34" charset="-128"/>
              </a:defRPr>
            </a:lvl3pPr>
            <a:lvl4pPr marL="1714500" indent="-342900">
              <a:buFont typeface="+mj-lt"/>
              <a:buAutoNum type="alphaLcPeriod"/>
              <a:defRPr sz="1600" b="1" i="0">
                <a:latin typeface="Yu Gothic" panose="020B0400000000000000" pitchFamily="34" charset="-128"/>
                <a:ea typeface="Yu Gothic" panose="020B0400000000000000" pitchFamily="34" charset="-128"/>
              </a:defRPr>
            </a:lvl4pPr>
            <a:lvl5pPr>
              <a:defRPr sz="1600" b="1" i="0">
                <a:latin typeface="Yu Gothic" panose="020B0400000000000000" pitchFamily="34" charset="-128"/>
                <a:ea typeface="Yu Gothic" panose="020B0400000000000000" pitchFamily="34" charset="-128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5A30BE08-F407-534B-2CFB-E5A69CE5BAE3}"/>
              </a:ext>
            </a:extLst>
          </p:cNvPr>
          <p:cNvCxnSpPr>
            <a:cxnSpLocks/>
          </p:cNvCxnSpPr>
          <p:nvPr userDrawn="1"/>
        </p:nvCxnSpPr>
        <p:spPr>
          <a:xfrm>
            <a:off x="1121605" y="1772169"/>
            <a:ext cx="995125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プレースホルダー 20">
            <a:extLst>
              <a:ext uri="{FF2B5EF4-FFF2-40B4-BE49-F238E27FC236}">
                <a16:creationId xmlns:a16="http://schemas.microsoft.com/office/drawing/2014/main" id="{3EB8DA82-F4A4-FF4B-4500-7628D0B3C8F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3791" y="1149350"/>
            <a:ext cx="10008066" cy="620713"/>
          </a:xfrm>
        </p:spPr>
        <p:txBody>
          <a:bodyPr anchor="b">
            <a:normAutofit/>
          </a:bodyPr>
          <a:lstStyle>
            <a:lvl1pPr marL="0" indent="0">
              <a:buNone/>
              <a:defRPr sz="3200" b="1"/>
            </a:lvl1pPr>
          </a:lstStyle>
          <a:p>
            <a:pPr lvl="0"/>
            <a:r>
              <a:rPr kumimoji="1" lang="ja-JP" altLang="en-US"/>
              <a:t>テキストを入力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3CC608D2-3A99-7416-4B9D-AFDB3471F509}"/>
              </a:ext>
            </a:extLst>
          </p:cNvPr>
          <p:cNvSpPr txBox="1"/>
          <p:nvPr userDrawn="1"/>
        </p:nvSpPr>
        <p:spPr>
          <a:xfrm>
            <a:off x="11227426" y="6573442"/>
            <a:ext cx="7705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F3C09FC-5FC0-C947-92E7-28C0E11FC613}" type="slidenum">
              <a:rPr kumimoji="1" lang="ja-JP" altLang="en-US" sz="1400" smtClean="0"/>
              <a:pPr algn="r"/>
              <a:t>‹#›</a:t>
            </a:fld>
            <a:endParaRPr kumimoji="1" lang="ja-JP" altLang="en-US" sz="1400"/>
          </a:p>
        </p:txBody>
      </p:sp>
    </p:spTree>
    <p:extLst>
      <p:ext uri="{BB962C8B-B14F-4D97-AF65-F5344CB8AC3E}">
        <p14:creationId xmlns:p14="http://schemas.microsoft.com/office/powerpoint/2010/main" val="3860579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2CEC3B0-9ECA-E8AC-8481-51FC803D5F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64982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スライド" r:id="rId4" imgW="7772400" imgH="10058400" progId="TCLayout.ActiveDocument.1">
                  <p:embed/>
                </p:oleObj>
              </mc:Choice>
              <mc:Fallback>
                <p:oleObj name="think-cellスライド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CEC3B0-9ECA-E8AC-8481-51FC803D5F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図 20">
            <a:extLst>
              <a:ext uri="{FF2B5EF4-FFF2-40B4-BE49-F238E27FC236}">
                <a16:creationId xmlns:a16="http://schemas.microsoft.com/office/drawing/2014/main" id="{F603AD27-EBD9-FC37-F3E3-6E9986F782B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832D8F8-24A7-99FF-704A-E36F0C41D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5089" y="6577213"/>
            <a:ext cx="2743200" cy="302821"/>
          </a:xfrm>
        </p:spPr>
        <p:txBody>
          <a:bodyPr/>
          <a:lstStyle/>
          <a:p>
            <a:fld id="{9514CC61-35BD-254E-A3BD-899B3B3F7B7B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15" name="テキスト プレースホルダー 12">
            <a:extLst>
              <a:ext uri="{FF2B5EF4-FFF2-40B4-BE49-F238E27FC236}">
                <a16:creationId xmlns:a16="http://schemas.microsoft.com/office/drawing/2014/main" id="{AF17EA12-F5AA-7F29-C35B-079331D255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27100" y="2255817"/>
            <a:ext cx="10337800" cy="1281874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5400" b="1"/>
            </a:lvl1pPr>
          </a:lstStyle>
          <a:p>
            <a:pPr lvl="0"/>
            <a:endParaRPr kumimoji="1" lang="en-US" altLang="ja-JP"/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8C1C8CAC-2717-E065-2FF5-9CBD3BB9D4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17600" y="3882737"/>
            <a:ext cx="9956800" cy="1388574"/>
          </a:xfrm>
        </p:spPr>
        <p:txBody>
          <a:bodyPr anchor="t"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BDBD267B-94B8-BB27-D008-F5DACE754412}"/>
              </a:ext>
            </a:extLst>
          </p:cNvPr>
          <p:cNvCxnSpPr>
            <a:cxnSpLocks/>
          </p:cNvCxnSpPr>
          <p:nvPr userDrawn="1"/>
        </p:nvCxnSpPr>
        <p:spPr>
          <a:xfrm>
            <a:off x="1028700" y="3671725"/>
            <a:ext cx="101346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6B7730DD-C767-EC8C-5B87-92FDDCE9BF22}"/>
              </a:ext>
            </a:extLst>
          </p:cNvPr>
          <p:cNvSpPr txBox="1"/>
          <p:nvPr userDrawn="1"/>
        </p:nvSpPr>
        <p:spPr>
          <a:xfrm>
            <a:off x="11227426" y="6583274"/>
            <a:ext cx="7705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F3C09FC-5FC0-C947-92E7-28C0E11FC613}" type="slidenum">
              <a:rPr kumimoji="1" lang="ja-JP" altLang="en-US" sz="1400" smtClean="0"/>
              <a:pPr algn="r"/>
              <a:t>‹#›</a:t>
            </a:fld>
            <a:endParaRPr kumimoji="1" lang="ja-JP" altLang="en-US" sz="1400"/>
          </a:p>
        </p:txBody>
      </p:sp>
    </p:spTree>
    <p:extLst>
      <p:ext uri="{BB962C8B-B14F-4D97-AF65-F5344CB8AC3E}">
        <p14:creationId xmlns:p14="http://schemas.microsoft.com/office/powerpoint/2010/main" val="24612933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C67C1ABC-DCB5-F535-B67A-63597E108AF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21951C20-192E-A73C-21EC-1D6E3522AD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4291" y="257550"/>
            <a:ext cx="10723418" cy="539336"/>
          </a:xfrm>
        </p:spPr>
        <p:txBody>
          <a:bodyPr vert="horz">
            <a:noAutofit/>
          </a:bodyPr>
          <a:lstStyle>
            <a:lvl1pPr>
              <a:defRPr sz="3200" b="1" i="0">
                <a:latin typeface="Yu Gothic" panose="020B0400000000000000" pitchFamily="34" charset="-128"/>
                <a:ea typeface="Yu Gothic" panose="020B0400000000000000" pitchFamily="34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AA15E017-9CE9-3D71-3BEB-1A12E2416D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49154"/>
            <a:ext cx="10515600" cy="512780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0BDDFD72-1458-4D44-E7E0-C03942168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5089" y="6577213"/>
            <a:ext cx="2743200" cy="30282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8E1DEF-3611-9F46-807B-685101301AA6}" type="slidenum">
              <a:rPr lang="ja-JP" altLang="en-US" smtClean="0"/>
              <a:pPr/>
              <a:t>‹#›</a:t>
            </a:fld>
            <a:endParaRPr lang="ja-JP" altLang="en-US"/>
          </a:p>
        </p:txBody>
      </p:sp>
      <p:cxnSp>
        <p:nvCxnSpPr>
          <p:cNvPr id="30" name="直線コネクタ 29">
            <a:extLst>
              <a:ext uri="{FF2B5EF4-FFF2-40B4-BE49-F238E27FC236}">
                <a16:creationId xmlns:a16="http://schemas.microsoft.com/office/drawing/2014/main" id="{CD4A8933-C198-4A82-8269-F767FE8B43CF}"/>
              </a:ext>
            </a:extLst>
          </p:cNvPr>
          <p:cNvCxnSpPr>
            <a:cxnSpLocks/>
          </p:cNvCxnSpPr>
          <p:nvPr userDrawn="1"/>
        </p:nvCxnSpPr>
        <p:spPr>
          <a:xfrm>
            <a:off x="696000" y="778001"/>
            <a:ext cx="10800000" cy="0"/>
          </a:xfrm>
          <a:prstGeom prst="line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AAA3133-29CB-1C39-A8DA-3090EC0614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37817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スライド" r:id="rId5" imgW="7772400" imgH="10058400" progId="TCLayout.ActiveDocument.1">
                  <p:embed/>
                </p:oleObj>
              </mc:Choice>
              <mc:Fallback>
                <p:oleObj name="think-cellスライド" r:id="rId5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AA3133-29CB-1C39-A8DA-3090EC0614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CE9DE730-A007-BA32-1A00-8E774A5D5D7D}"/>
              </a:ext>
            </a:extLst>
          </p:cNvPr>
          <p:cNvSpPr txBox="1"/>
          <p:nvPr userDrawn="1"/>
        </p:nvSpPr>
        <p:spPr>
          <a:xfrm>
            <a:off x="11227426" y="6572257"/>
            <a:ext cx="7705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F3C09FC-5FC0-C947-92E7-28C0E11FC613}" type="slidenum">
              <a:rPr kumimoji="1" lang="ja-JP" altLang="en-US" sz="1400" smtClean="0">
                <a:solidFill>
                  <a:schemeClr val="bg1"/>
                </a:solidFill>
              </a:rPr>
              <a:pPr algn="r"/>
              <a:t>‹#›</a:t>
            </a:fld>
            <a:endParaRPr kumimoji="1" lang="ja-JP" altLang="en-US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2421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A81D426-DF47-492E-4BAC-1676ED3E92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49441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スライド" r:id="rId4" imgW="7772400" imgH="10058400" progId="TCLayout.ActiveDocument.1">
                  <p:embed/>
                </p:oleObj>
              </mc:Choice>
              <mc:Fallback>
                <p:oleObj name="think-cellスライド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81D426-DF47-492E-4BAC-1676ED3E9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E4A3B6F5-39EA-6FCA-0511-0E7372B34ED0}"/>
              </a:ext>
            </a:extLst>
          </p:cNvPr>
          <p:cNvSpPr txBox="1"/>
          <p:nvPr userDrawn="1"/>
        </p:nvSpPr>
        <p:spPr>
          <a:xfrm>
            <a:off x="9282545" y="6600349"/>
            <a:ext cx="29094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kumimoji="1" lang="en-US" altLang="ja-JP" sz="1000" b="0">
                <a:solidFill>
                  <a:schemeClr val="bg1"/>
                </a:solidFill>
              </a:rPr>
              <a:t>Gakken</a:t>
            </a:r>
            <a:endParaRPr kumimoji="1" lang="ja-JP" altLang="en-US" sz="1000" b="0">
              <a:solidFill>
                <a:schemeClr val="bg1"/>
              </a:solidFill>
            </a:endParaRP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FC52A6DC-96CC-0456-E0B2-677DBAD6AFA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536737" y="2918991"/>
            <a:ext cx="3118526" cy="1020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2179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6D15A8A8-70CA-5B02-5B0A-0E1D76E0BB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058777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BC28EF9D-12C2-38BF-B361-A184D9AAFE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00502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0B4763B5-B0B8-E7D4-321A-E350D4D6B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E1DEF-3611-9F46-807B-685101301AA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645731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82802" y="53625"/>
            <a:ext cx="10913197" cy="641398"/>
          </a:xfrm>
        </p:spPr>
        <p:txBody>
          <a:bodyPr anchor="b" anchorCtr="0"/>
          <a:lstStyle>
            <a:lvl1pPr>
              <a:defRPr sz="2800"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cxnSp>
        <p:nvCxnSpPr>
          <p:cNvPr id="16" name="直線コネクタ 15"/>
          <p:cNvCxnSpPr/>
          <p:nvPr userDrawn="1"/>
        </p:nvCxnSpPr>
        <p:spPr>
          <a:xfrm>
            <a:off x="582802" y="773705"/>
            <a:ext cx="11026397" cy="1588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Box 13"/>
          <p:cNvSpPr txBox="1">
            <a:spLocks noChangeArrowheads="1"/>
          </p:cNvSpPr>
          <p:nvPr userDrawn="1"/>
        </p:nvSpPr>
        <p:spPr bwMode="auto">
          <a:xfrm>
            <a:off x="7956207" y="6513000"/>
            <a:ext cx="3149600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メイリオ"/>
                <a:cs typeface="+mn-cs"/>
              </a:rPr>
              <a:t>©</a:t>
            </a:r>
            <a:r>
              <a:rPr kumimoji="1" lang="ja-JP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 </a:t>
            </a:r>
            <a:r>
              <a:rPr kumimoji="1" lang="en-US" altLang="ja-JP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Gakken</a:t>
            </a:r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582804" y="6354325"/>
            <a:ext cx="11026397" cy="1588"/>
          </a:xfrm>
          <a:prstGeom prst="line">
            <a:avLst/>
          </a:prstGeom>
          <a:ln w="12700">
            <a:solidFill>
              <a:srgbClr val="009A3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図 14" descr="gakk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72706" y="6443548"/>
            <a:ext cx="977789" cy="217683"/>
          </a:xfrm>
          <a:prstGeom prst="rect">
            <a:avLst/>
          </a:prstGeom>
        </p:spPr>
      </p:pic>
      <p:sp>
        <p:nvSpPr>
          <p:cNvPr id="3" name="テキスト ボックス 2"/>
          <p:cNvSpPr txBox="1"/>
          <p:nvPr userDrawn="1"/>
        </p:nvSpPr>
        <p:spPr>
          <a:xfrm>
            <a:off x="11495999" y="6454006"/>
            <a:ext cx="696001" cy="2072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2EA146-AC33-4D4C-BECA-41104911C27E}" type="slidenum">
              <a:rPr kumimoji="0" lang="en-US" altLang="ja-JP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ja-JP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S PGothic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0459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82801" y="228600"/>
            <a:ext cx="10936083" cy="641398"/>
          </a:xfrm>
          <a:prstGeom prst="rect">
            <a:avLst/>
          </a:prstGeom>
        </p:spPr>
        <p:txBody>
          <a:bodyPr anchor="b" anchorCtr="0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582800" y="1054272"/>
            <a:ext cx="10936083" cy="1029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Meiryo" panose="020B0604030504040204" pitchFamily="34" charset="-128"/>
                <a:ea typeface="Meiryo" panose="020B0604030504040204" pitchFamily="34" charset="-128"/>
              </a:defRPr>
            </a:lvl1pPr>
            <a:lvl2pPr marL="457200" indent="0">
              <a:buNone/>
              <a:defRPr sz="1400">
                <a:latin typeface="Meiryo" panose="020B0604030504040204" pitchFamily="34" charset="-128"/>
                <a:ea typeface="Meiryo" panose="020B0604030504040204" pitchFamily="34" charset="-128"/>
              </a:defRPr>
            </a:lvl2pPr>
            <a:lvl3pPr marL="914400" indent="0">
              <a:buNone/>
              <a:defRPr sz="1400">
                <a:latin typeface="Meiryo" panose="020B0604030504040204" pitchFamily="34" charset="-128"/>
                <a:ea typeface="Meiryo" panose="020B0604030504040204" pitchFamily="34" charset="-128"/>
              </a:defRPr>
            </a:lvl3pPr>
            <a:lvl4pPr marL="1371600" indent="0">
              <a:buNone/>
              <a:defRPr sz="1400">
                <a:latin typeface="Meiryo" panose="020B0604030504040204" pitchFamily="34" charset="-128"/>
                <a:ea typeface="Meiryo" panose="020B0604030504040204" pitchFamily="34" charset="-128"/>
              </a:defRPr>
            </a:lvl4pPr>
            <a:lvl5pPr marL="1828800" indent="0">
              <a:buNone/>
              <a:defRPr sz="1400">
                <a:latin typeface="Meiryo" panose="020B0604030504040204" pitchFamily="34" charset="-128"/>
                <a:ea typeface="Meiryo" panose="020B0604030504040204" pitchFamily="34" charset="-128"/>
              </a:defRPr>
            </a:lvl5pPr>
          </a:lstStyle>
          <a:p>
            <a:pPr lvl="0"/>
            <a:endParaRPr lang="ja-JP" altLang="en-US"/>
          </a:p>
        </p:txBody>
      </p:sp>
      <p:pic>
        <p:nvPicPr>
          <p:cNvPr id="11" name="図 10" descr="gakken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800" y="6540186"/>
            <a:ext cx="1078029" cy="179998"/>
          </a:xfrm>
          <a:prstGeom prst="rect">
            <a:avLst/>
          </a:prstGeom>
        </p:spPr>
      </p:pic>
      <p:cxnSp>
        <p:nvCxnSpPr>
          <p:cNvPr id="16" name="直線コネクタ 15"/>
          <p:cNvCxnSpPr/>
          <p:nvPr userDrawn="1"/>
        </p:nvCxnSpPr>
        <p:spPr>
          <a:xfrm>
            <a:off x="582802" y="944610"/>
            <a:ext cx="11026397" cy="1588"/>
          </a:xfrm>
          <a:prstGeom prst="line">
            <a:avLst/>
          </a:prstGeom>
          <a:ln>
            <a:solidFill>
              <a:srgbClr val="009A3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直線コネクタ 7"/>
          <p:cNvCxnSpPr/>
          <p:nvPr userDrawn="1"/>
        </p:nvCxnSpPr>
        <p:spPr>
          <a:xfrm>
            <a:off x="582802" y="6354325"/>
            <a:ext cx="11026397" cy="1588"/>
          </a:xfrm>
          <a:prstGeom prst="line">
            <a:avLst/>
          </a:prstGeom>
          <a:ln w="12700">
            <a:solidFill>
              <a:srgbClr val="009A3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サブタイトル 2">
            <a:extLst>
              <a:ext uri="{FF2B5EF4-FFF2-40B4-BE49-F238E27FC236}">
                <a16:creationId xmlns:a16="http://schemas.microsoft.com/office/drawing/2014/main" id="{926A0C72-54BF-8A4F-8126-49C0DF575A07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120972" y="5803729"/>
            <a:ext cx="8534400" cy="525915"/>
          </a:xfrm>
          <a:prstGeom prst="rect">
            <a:avLst/>
          </a:prstGeom>
        </p:spPr>
        <p:txBody>
          <a:bodyPr anchor="b" anchorCtr="0"/>
          <a:lstStyle>
            <a:lvl1pPr marL="0" indent="0" algn="r">
              <a:buNone/>
              <a:defRPr sz="11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endParaRPr lang="ja-JP" altLang="en-US"/>
          </a:p>
        </p:txBody>
      </p:sp>
      <p:sp>
        <p:nvSpPr>
          <p:cNvPr id="14" name="スライド番号プレースホルダー 1">
            <a:extLst>
              <a:ext uri="{FF2B5EF4-FFF2-40B4-BE49-F238E27FC236}">
                <a16:creationId xmlns:a16="http://schemas.microsoft.com/office/drawing/2014/main" id="{E109AE45-8A33-434F-AB1E-3DF6C2BF89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75520" y="6540186"/>
            <a:ext cx="8832981" cy="287998"/>
          </a:xfrm>
          <a:prstGeom prst="rect">
            <a:avLst/>
          </a:prstGeom>
        </p:spPr>
        <p:txBody>
          <a:bodyPr/>
          <a:lstStyle/>
          <a:p>
            <a:r>
              <a:rPr lang="en-US" altLang="ja-JP"/>
              <a:t>Page</a:t>
            </a:r>
            <a:fld id="{351D1D28-91AB-4106-A3D5-EA47BE4E1DAF}" type="slidenum">
              <a:rPr lang="en-US" altLang="ja-JP" smtClean="0"/>
              <a:pPr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5043065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6F5467A-0022-DD28-3C58-4094F6379E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015859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スライド" r:id="rId13" imgW="7772400" imgH="10058400" progId="TCLayout.ActiveDocument.1">
                  <p:embed/>
                </p:oleObj>
              </mc:Choice>
              <mc:Fallback>
                <p:oleObj name="think-cellスライド" r:id="rId1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F5467A-0022-DD28-3C58-4094F6379E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A52B9E23-0E43-538C-6C20-2609533D5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522" y="365125"/>
            <a:ext cx="1116495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630B7E3B-B6FE-E031-46C2-4E1C6CA1DB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3522" y="1825625"/>
            <a:ext cx="1116495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27107B6C-3700-4219-69A5-9CFC1D671A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089" y="6555179"/>
            <a:ext cx="2743200" cy="3028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0">
                <a:solidFill>
                  <a:schemeClr val="tx1"/>
                </a:solidFill>
              </a:defRPr>
            </a:lvl1pPr>
          </a:lstStyle>
          <a:p>
            <a:fld id="{438E1DEF-3611-9F46-807B-685101301AA6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11284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8" r:id="rId2"/>
    <p:sldLayoutId id="2147483673" r:id="rId3"/>
    <p:sldLayoutId id="2147483666" r:id="rId4"/>
    <p:sldLayoutId id="2147483650" r:id="rId5"/>
    <p:sldLayoutId id="2147483675" r:id="rId6"/>
    <p:sldLayoutId id="2147483655" r:id="rId7"/>
    <p:sldLayoutId id="2147483676" r:id="rId8"/>
    <p:sldLayoutId id="2147483677" r:id="rId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4884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スライド" r:id="rId4" imgW="639" imgH="639" progId="TCLayout.ActiveDocument.1">
                  <p:embed/>
                </p:oleObj>
              </mc:Choice>
              <mc:Fallback>
                <p:oleObj name="think-cellスライド" r:id="rId4" imgW="639" imgH="639" progId="TCLayout.ActiveDocument.1">
                  <p:embed/>
                  <p:pic>
                    <p:nvPicPr>
                      <p:cNvPr id="2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角丸四角形 3"/>
          <p:cNvSpPr/>
          <p:nvPr/>
        </p:nvSpPr>
        <p:spPr>
          <a:xfrm>
            <a:off x="6205608" y="3941450"/>
            <a:ext cx="5836450" cy="2550790"/>
          </a:xfrm>
          <a:custGeom>
            <a:avLst/>
            <a:gdLst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687467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861639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6626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9674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617029"/>
              <a:gd name="connsiteY0" fmla="*/ 932561 h 5630913"/>
              <a:gd name="connsiteX1" fmla="*/ 932561 w 5617029"/>
              <a:gd name="connsiteY1" fmla="*/ 0 h 5630913"/>
              <a:gd name="connsiteX2" fmla="*/ 4967496 w 5617029"/>
              <a:gd name="connsiteY2" fmla="*/ 0 h 5630913"/>
              <a:gd name="connsiteX3" fmla="*/ 5617029 w 5617029"/>
              <a:gd name="connsiteY3" fmla="*/ 584218 h 5630913"/>
              <a:gd name="connsiteX4" fmla="*/ 5595257 w 5617029"/>
              <a:gd name="connsiteY4" fmla="*/ 4861639 h 5630913"/>
              <a:gd name="connsiteX5" fmla="*/ 5141667 w 5617029"/>
              <a:gd name="connsiteY5" fmla="*/ 5630913 h 5630913"/>
              <a:gd name="connsiteX6" fmla="*/ 932561 w 5617029"/>
              <a:gd name="connsiteY6" fmla="*/ 5620028 h 5630913"/>
              <a:gd name="connsiteX7" fmla="*/ 0 w 5617029"/>
              <a:gd name="connsiteY7" fmla="*/ 4687467 h 5630913"/>
              <a:gd name="connsiteX8" fmla="*/ 0 w 5617029"/>
              <a:gd name="connsiteY8" fmla="*/ 932561 h 5630913"/>
              <a:gd name="connsiteX0" fmla="*/ 0 w 5617029"/>
              <a:gd name="connsiteY0" fmla="*/ 932561 h 5630914"/>
              <a:gd name="connsiteX1" fmla="*/ 932561 w 5617029"/>
              <a:gd name="connsiteY1" fmla="*/ 0 h 5630914"/>
              <a:gd name="connsiteX2" fmla="*/ 4967496 w 5617029"/>
              <a:gd name="connsiteY2" fmla="*/ 0 h 5630914"/>
              <a:gd name="connsiteX3" fmla="*/ 5617029 w 5617029"/>
              <a:gd name="connsiteY3" fmla="*/ 584218 h 5630914"/>
              <a:gd name="connsiteX4" fmla="*/ 5595257 w 5617029"/>
              <a:gd name="connsiteY4" fmla="*/ 4861639 h 5630914"/>
              <a:gd name="connsiteX5" fmla="*/ 5141667 w 5617029"/>
              <a:gd name="connsiteY5" fmla="*/ 5630913 h 5630914"/>
              <a:gd name="connsiteX6" fmla="*/ 671304 w 5617029"/>
              <a:gd name="connsiteY6" fmla="*/ 5630914 h 5630914"/>
              <a:gd name="connsiteX7" fmla="*/ 0 w 5617029"/>
              <a:gd name="connsiteY7" fmla="*/ 4687467 h 5630914"/>
              <a:gd name="connsiteX8" fmla="*/ 0 w 5617029"/>
              <a:gd name="connsiteY8" fmla="*/ 932561 h 5630914"/>
              <a:gd name="connsiteX0" fmla="*/ 10886 w 5627915"/>
              <a:gd name="connsiteY0" fmla="*/ 932561 h 5630914"/>
              <a:gd name="connsiteX1" fmla="*/ 943447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932561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573333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573333 h 5630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7915" h="5630914">
                <a:moveTo>
                  <a:pt x="10886" y="573333"/>
                </a:moveTo>
                <a:cubicBezTo>
                  <a:pt x="10886" y="58294"/>
                  <a:pt x="25637" y="0"/>
                  <a:pt x="540676" y="0"/>
                </a:cubicBezTo>
                <a:lnTo>
                  <a:pt x="4978382" y="0"/>
                </a:lnTo>
                <a:cubicBezTo>
                  <a:pt x="5493421" y="0"/>
                  <a:pt x="5627915" y="69179"/>
                  <a:pt x="5627915" y="584218"/>
                </a:cubicBezTo>
                <a:lnTo>
                  <a:pt x="5606143" y="4861639"/>
                </a:lnTo>
                <a:cubicBezTo>
                  <a:pt x="5606143" y="5376678"/>
                  <a:pt x="5667592" y="5630913"/>
                  <a:pt x="5152553" y="5630913"/>
                </a:cubicBezTo>
                <a:lnTo>
                  <a:pt x="682190" y="5630914"/>
                </a:lnTo>
                <a:cubicBezTo>
                  <a:pt x="167151" y="5630914"/>
                  <a:pt x="0" y="5594392"/>
                  <a:pt x="0" y="5079353"/>
                </a:cubicBezTo>
                <a:cubicBezTo>
                  <a:pt x="3629" y="3697089"/>
                  <a:pt x="7257" y="1955597"/>
                  <a:pt x="10886" y="573333"/>
                </a:cubicBezTo>
                <a:close/>
              </a:path>
            </a:pathLst>
          </a:cu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3" name="タイトル 12"/>
          <p:cNvSpPr>
            <a:spLocks noGrp="1"/>
          </p:cNvSpPr>
          <p:nvPr>
            <p:ph type="title"/>
          </p:nvPr>
        </p:nvSpPr>
        <p:spPr>
          <a:xfrm>
            <a:off x="734290" y="257550"/>
            <a:ext cx="8809103" cy="539336"/>
          </a:xfrm>
        </p:spPr>
        <p:txBody>
          <a:bodyPr vert="horz"/>
          <a:lstStyle/>
          <a:p>
            <a:r>
              <a:rPr lang="en-US" altLang="ja-JP" dirty="0"/>
              <a:t>Application Form</a:t>
            </a:r>
            <a:r>
              <a:rPr lang="ja-JP" altLang="en-US" dirty="0" smtClean="0"/>
              <a:t>（</a:t>
            </a:r>
            <a:r>
              <a:rPr lang="en-US" altLang="ja-JP" dirty="0" smtClean="0"/>
              <a:t>Open Category</a:t>
            </a:r>
            <a:r>
              <a:rPr lang="ja-JP" altLang="en-US" dirty="0" smtClean="0"/>
              <a:t>）</a:t>
            </a:r>
            <a:endParaRPr kumimoji="1" lang="ja-JP" altLang="en-US" dirty="0"/>
          </a:p>
        </p:txBody>
      </p:sp>
      <p:sp>
        <p:nvSpPr>
          <p:cNvPr id="15" name="正方形/長方形 14"/>
          <p:cNvSpPr/>
          <p:nvPr/>
        </p:nvSpPr>
        <p:spPr>
          <a:xfrm>
            <a:off x="402653" y="1631095"/>
            <a:ext cx="5465695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ja-JP" sz="1200" b="1"/>
              <a:t>Free format for Idea overview, Values for customer, Business plan and Any remarkable facto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ja-JP" sz="1200" b="1"/>
              <a:t>Appendix can be attached within 5 pages</a:t>
            </a:r>
          </a:p>
        </p:txBody>
      </p:sp>
      <p:sp>
        <p:nvSpPr>
          <p:cNvPr id="23" name="正方形/長方形 22"/>
          <p:cNvSpPr/>
          <p:nvPr/>
        </p:nvSpPr>
        <p:spPr>
          <a:xfrm>
            <a:off x="6263405" y="929666"/>
            <a:ext cx="47388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400" b="1" u="sng"/>
              <a:t>■</a:t>
            </a:r>
            <a:r>
              <a:rPr lang="en-US" altLang="ja-JP" sz="1400" b="1" u="sng"/>
              <a:t>Business area / Market / Customer analysis</a:t>
            </a:r>
          </a:p>
        </p:txBody>
      </p:sp>
      <p:sp>
        <p:nvSpPr>
          <p:cNvPr id="27" name="正方形/長方形 26"/>
          <p:cNvSpPr/>
          <p:nvPr/>
        </p:nvSpPr>
        <p:spPr>
          <a:xfrm>
            <a:off x="6398856" y="1414715"/>
            <a:ext cx="5569460" cy="7463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700"/>
              </a:lnSpc>
            </a:pPr>
            <a:r>
              <a:rPr lang="en-US" altLang="ja-JP" sz="1000" b="1"/>
              <a:t>□ Infants and toddlers □ Elementary and junior high school students □ High school, university and vocational school students □ Adults □ Seniors□ Companies and local governments □ Global □ Others (</a:t>
            </a:r>
            <a:r>
              <a:rPr lang="ja-JP" altLang="en-US" sz="1000" b="1"/>
              <a:t>　　　　　　　　　　　　　　                                     </a:t>
            </a:r>
            <a:r>
              <a:rPr lang="en-US" altLang="ja-JP" sz="1000" b="1"/>
              <a:t>)</a:t>
            </a:r>
          </a:p>
        </p:txBody>
      </p:sp>
      <p:sp>
        <p:nvSpPr>
          <p:cNvPr id="35" name="正方形/長方形 34"/>
          <p:cNvSpPr/>
          <p:nvPr/>
        </p:nvSpPr>
        <p:spPr>
          <a:xfrm>
            <a:off x="6394981" y="2041630"/>
            <a:ext cx="5674948" cy="5283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700"/>
              </a:lnSpc>
            </a:pPr>
            <a:r>
              <a:rPr lang="en-US" altLang="ja-JP" sz="1000" b="1">
                <a:solidFill>
                  <a:schemeClr val="accent2"/>
                </a:solidFill>
              </a:rPr>
              <a:t>※If you would like to be matched with a specific Gakken Group company, please describe it here.</a:t>
            </a:r>
            <a:r>
              <a:rPr lang="ja-JP" altLang="en-US" sz="1000" b="1">
                <a:solidFill>
                  <a:schemeClr val="accent2"/>
                </a:solidFill>
              </a:rPr>
              <a:t>（　　　　　　　　　　　　　　　　　　　　　　　　　　　　　　　）</a:t>
            </a:r>
          </a:p>
        </p:txBody>
      </p:sp>
      <p:sp>
        <p:nvSpPr>
          <p:cNvPr id="41" name="正方形/長方形 40"/>
          <p:cNvSpPr/>
          <p:nvPr/>
        </p:nvSpPr>
        <p:spPr>
          <a:xfrm>
            <a:off x="6263404" y="3960333"/>
            <a:ext cx="577865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400" b="1" u="sng"/>
              <a:t>■</a:t>
            </a:r>
            <a:r>
              <a:rPr lang="en-US" altLang="ja-JP" sz="1400" b="1" u="sng"/>
              <a:t>Company name / Organization name / Individual name</a:t>
            </a:r>
          </a:p>
        </p:txBody>
      </p:sp>
      <p:sp>
        <p:nvSpPr>
          <p:cNvPr id="44" name="正方形/長方形 43"/>
          <p:cNvSpPr/>
          <p:nvPr/>
        </p:nvSpPr>
        <p:spPr>
          <a:xfrm>
            <a:off x="6338397" y="1219657"/>
            <a:ext cx="5558647" cy="19993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100" b="1">
                <a:solidFill>
                  <a:schemeClr val="bg1"/>
                </a:solidFill>
              </a:rPr>
              <a:t>①</a:t>
            </a:r>
            <a:r>
              <a:rPr lang="en-US" altLang="ja-JP" sz="1100" b="1">
                <a:solidFill>
                  <a:schemeClr val="bg1"/>
                </a:solidFill>
              </a:rPr>
              <a:t>Please select the subject you are interested in</a:t>
            </a:r>
            <a:r>
              <a:rPr lang="en-US" altLang="ja-JP" sz="800" b="1">
                <a:solidFill>
                  <a:schemeClr val="bg1"/>
                </a:solidFill>
              </a:rPr>
              <a:t> </a:t>
            </a:r>
            <a:r>
              <a:rPr lang="en-US" altLang="ja-JP" sz="1000" b="1">
                <a:solidFill>
                  <a:schemeClr val="bg1"/>
                </a:solidFill>
              </a:rPr>
              <a:t>(multiple selections possible)</a:t>
            </a:r>
            <a:endParaRPr lang="en-US" altLang="ja-JP" sz="1400" b="1">
              <a:solidFill>
                <a:schemeClr val="bg1"/>
              </a:solidFill>
            </a:endParaRPr>
          </a:p>
        </p:txBody>
      </p:sp>
      <p:sp>
        <p:nvSpPr>
          <p:cNvPr id="45" name="正方形/長方形 44"/>
          <p:cNvSpPr/>
          <p:nvPr/>
        </p:nvSpPr>
        <p:spPr>
          <a:xfrm>
            <a:off x="6338397" y="2548226"/>
            <a:ext cx="5558647" cy="242424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100" b="1">
                <a:solidFill>
                  <a:schemeClr val="bg1"/>
                </a:solidFill>
              </a:rPr>
              <a:t>②</a:t>
            </a:r>
            <a:r>
              <a:rPr lang="en-US" altLang="ja-JP" sz="1100" b="1">
                <a:solidFill>
                  <a:schemeClr val="bg1"/>
                </a:solidFill>
              </a:rPr>
              <a:t>Please identify the future outlook for your target market and social issues.</a:t>
            </a:r>
            <a:endParaRPr lang="ja-JP" altLang="en-US" sz="1100" b="1">
              <a:solidFill>
                <a:schemeClr val="bg1"/>
              </a:solidFill>
            </a:endParaRPr>
          </a:p>
        </p:txBody>
      </p:sp>
      <p:sp>
        <p:nvSpPr>
          <p:cNvPr id="46" name="正方形/長方形 45"/>
          <p:cNvSpPr/>
          <p:nvPr/>
        </p:nvSpPr>
        <p:spPr>
          <a:xfrm>
            <a:off x="6409729" y="4257197"/>
            <a:ext cx="5487315" cy="19993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200" b="1">
                <a:solidFill>
                  <a:schemeClr val="bg1"/>
                </a:solidFill>
              </a:rPr>
              <a:t>③</a:t>
            </a:r>
            <a:r>
              <a:rPr lang="en-US" altLang="ja-JP" sz="1200" b="1">
                <a:solidFill>
                  <a:schemeClr val="bg1"/>
                </a:solidFill>
              </a:rPr>
              <a:t>Profile</a:t>
            </a:r>
            <a:endParaRPr lang="ja-JP" altLang="en-US" sz="1200" b="1">
              <a:solidFill>
                <a:schemeClr val="bg1"/>
              </a:solidFill>
            </a:endParaRPr>
          </a:p>
        </p:txBody>
      </p:sp>
      <p:sp>
        <p:nvSpPr>
          <p:cNvPr id="47" name="正方形/長方形 46"/>
          <p:cNvSpPr/>
          <p:nvPr/>
        </p:nvSpPr>
        <p:spPr>
          <a:xfrm>
            <a:off x="6409729" y="4964780"/>
            <a:ext cx="5487315" cy="19993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200" b="1">
                <a:solidFill>
                  <a:schemeClr val="bg1"/>
                </a:solidFill>
              </a:rPr>
              <a:t>④</a:t>
            </a:r>
            <a:r>
              <a:rPr lang="en-US" altLang="ja-JP" sz="1200" b="1">
                <a:solidFill>
                  <a:schemeClr val="bg1"/>
                </a:solidFill>
              </a:rPr>
              <a:t>Vision / Values</a:t>
            </a:r>
            <a:endParaRPr lang="ja-JP" altLang="en-US" sz="1200" b="1">
              <a:solidFill>
                <a:schemeClr val="bg1"/>
              </a:solidFill>
            </a:endParaRPr>
          </a:p>
        </p:txBody>
      </p:sp>
      <p:sp>
        <p:nvSpPr>
          <p:cNvPr id="48" name="正方形/長方形 47"/>
          <p:cNvSpPr/>
          <p:nvPr/>
        </p:nvSpPr>
        <p:spPr>
          <a:xfrm>
            <a:off x="6409729" y="5693769"/>
            <a:ext cx="5487315" cy="19993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200" b="1">
                <a:solidFill>
                  <a:schemeClr val="bg1"/>
                </a:solidFill>
              </a:rPr>
              <a:t>⑤</a:t>
            </a:r>
            <a:r>
              <a:rPr lang="en-US" altLang="ja-JP" sz="1200" b="1">
                <a:solidFill>
                  <a:schemeClr val="bg1"/>
                </a:solidFill>
              </a:rPr>
              <a:t>Current performance</a:t>
            </a:r>
            <a:r>
              <a:rPr lang="ja-JP" altLang="en-US" sz="1200" b="1">
                <a:solidFill>
                  <a:schemeClr val="bg1"/>
                </a:solidFill>
              </a:rPr>
              <a:t>　（</a:t>
            </a:r>
            <a:r>
              <a:rPr lang="en-US" altLang="ja-JP" sz="1200" b="1">
                <a:solidFill>
                  <a:schemeClr val="bg1"/>
                </a:solidFill>
              </a:rPr>
              <a:t>※Optional</a:t>
            </a:r>
            <a:r>
              <a:rPr lang="ja-JP" altLang="en-US" sz="1200" b="1">
                <a:solidFill>
                  <a:schemeClr val="bg1"/>
                </a:solidFill>
              </a:rPr>
              <a:t>）</a:t>
            </a:r>
          </a:p>
        </p:txBody>
      </p:sp>
      <p:sp>
        <p:nvSpPr>
          <p:cNvPr id="49" name="正方形/長方形 48"/>
          <p:cNvSpPr/>
          <p:nvPr/>
        </p:nvSpPr>
        <p:spPr>
          <a:xfrm>
            <a:off x="6409730" y="5900288"/>
            <a:ext cx="5487314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ja-JP" sz="1050" b="1"/>
              <a:t>FY</a:t>
            </a:r>
            <a:r>
              <a:rPr lang="ja-JP" altLang="en-US" sz="1050" b="1"/>
              <a:t>2023：　　</a:t>
            </a:r>
            <a:r>
              <a:rPr lang="en-US" altLang="ja-JP" sz="1050" b="1"/>
              <a:t>Sales</a:t>
            </a:r>
            <a:r>
              <a:rPr lang="ja-JP" altLang="en-US" sz="1050" b="1"/>
              <a:t>：</a:t>
            </a:r>
            <a:r>
              <a:rPr lang="en-US" altLang="ja-JP" sz="1050" b="1"/>
              <a:t>$xx</a:t>
            </a:r>
            <a:r>
              <a:rPr lang="ja-JP" altLang="en-US" sz="1050" b="1"/>
              <a:t> </a:t>
            </a:r>
            <a:r>
              <a:rPr lang="en-US" altLang="ja-JP" sz="1050" b="1"/>
              <a:t>               /</a:t>
            </a:r>
            <a:r>
              <a:rPr lang="ja-JP" altLang="en-US" sz="1050" b="1"/>
              <a:t> </a:t>
            </a:r>
            <a:r>
              <a:rPr lang="en-US" altLang="ja-JP" sz="1050" b="1"/>
              <a:t>Operating Profit</a:t>
            </a:r>
            <a:r>
              <a:rPr lang="ja-JP" altLang="en-US" sz="1050" b="1"/>
              <a:t>：</a:t>
            </a:r>
            <a:r>
              <a:rPr lang="en-US" altLang="ja-JP" sz="1050" b="1"/>
              <a:t> $ xx</a:t>
            </a:r>
            <a:r>
              <a:rPr lang="ja-JP" altLang="en-US" sz="1050" b="1"/>
              <a:t>　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ja-JP" sz="1050" b="1"/>
              <a:t>FY</a:t>
            </a:r>
            <a:r>
              <a:rPr lang="ja-JP" altLang="en-US" sz="1050" b="1"/>
              <a:t>2024：　　</a:t>
            </a:r>
            <a:r>
              <a:rPr lang="en-US" altLang="ja-JP" sz="1050" b="1"/>
              <a:t>Sales</a:t>
            </a:r>
            <a:r>
              <a:rPr lang="ja-JP" altLang="en-US" sz="1050" b="1"/>
              <a:t>：</a:t>
            </a:r>
            <a:r>
              <a:rPr lang="en-US" altLang="ja-JP" sz="1050" b="1"/>
              <a:t>$xx</a:t>
            </a:r>
            <a:r>
              <a:rPr lang="ja-JP" altLang="en-US" sz="1050" b="1"/>
              <a:t> </a:t>
            </a:r>
            <a:r>
              <a:rPr lang="en-US" altLang="ja-JP" sz="1050" b="1"/>
              <a:t>               /</a:t>
            </a:r>
            <a:r>
              <a:rPr lang="ja-JP" altLang="en-US" sz="1050" b="1"/>
              <a:t> </a:t>
            </a:r>
            <a:r>
              <a:rPr lang="en-US" altLang="ja-JP" sz="1050" b="1"/>
              <a:t>Operating Profit</a:t>
            </a:r>
            <a:r>
              <a:rPr lang="ja-JP" altLang="en-US" sz="1050" b="1"/>
              <a:t>：</a:t>
            </a:r>
            <a:r>
              <a:rPr lang="en-US" altLang="ja-JP" sz="1050" b="1"/>
              <a:t> $ xx</a:t>
            </a:r>
            <a:r>
              <a:rPr lang="ja-JP" altLang="en-US" sz="1050" b="1"/>
              <a:t>　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ja-JP" sz="1050" b="1"/>
              <a:t>Number of Employees</a:t>
            </a:r>
            <a:r>
              <a:rPr lang="ja-JP" altLang="en-US" sz="1050" b="1"/>
              <a:t>：</a:t>
            </a:r>
          </a:p>
        </p:txBody>
      </p:sp>
      <p:sp>
        <p:nvSpPr>
          <p:cNvPr id="55" name="正方形/長方形 54"/>
          <p:cNvSpPr/>
          <p:nvPr/>
        </p:nvSpPr>
        <p:spPr>
          <a:xfrm>
            <a:off x="6409729" y="4397350"/>
            <a:ext cx="5558587" cy="3248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ja-JP" sz="1100">
                <a:solidFill>
                  <a:schemeClr val="tx1"/>
                </a:solidFill>
              </a:rPr>
              <a:t>x</a:t>
            </a:r>
            <a:r>
              <a:rPr kumimoji="1" lang="en-US" altLang="ja-JP" sz="1100">
                <a:solidFill>
                  <a:schemeClr val="tx1"/>
                </a:solidFill>
              </a:rPr>
              <a:t>xxxxxxxxxxxxxxxxxxxxxxxxxxxxxxxxxxxxxxxxxxxxxxxxxxxxxxxxxxxxxxxxxxxxxxxxxxxxxxxxxxxxxxxxxxxxxxxxxxxxxxxxxxxxxxxxxxxxxxxxxxxxxxxxxxxxxxxxxxxxxxxxxxxxxxxxxxxxxxxxxxxxxxxxxxxxxxxxxxxxxxxxxxxxxxxxxxxxxxxxxxxxxxxxxxxxxxxxxxxxxxxxxxx</a:t>
            </a:r>
            <a:endParaRPr kumimoji="1" lang="ja-JP" altLang="en-US" sz="1100">
              <a:solidFill>
                <a:schemeClr val="tx1"/>
              </a:solidFill>
            </a:endParaRPr>
          </a:p>
        </p:txBody>
      </p:sp>
      <p:sp>
        <p:nvSpPr>
          <p:cNvPr id="31" name="角丸四角形 3"/>
          <p:cNvSpPr/>
          <p:nvPr/>
        </p:nvSpPr>
        <p:spPr>
          <a:xfrm>
            <a:off x="170882" y="866274"/>
            <a:ext cx="5929238" cy="5625965"/>
          </a:xfrm>
          <a:custGeom>
            <a:avLst/>
            <a:gdLst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687467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861639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6626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9674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617029"/>
              <a:gd name="connsiteY0" fmla="*/ 932561 h 5630913"/>
              <a:gd name="connsiteX1" fmla="*/ 932561 w 5617029"/>
              <a:gd name="connsiteY1" fmla="*/ 0 h 5630913"/>
              <a:gd name="connsiteX2" fmla="*/ 4967496 w 5617029"/>
              <a:gd name="connsiteY2" fmla="*/ 0 h 5630913"/>
              <a:gd name="connsiteX3" fmla="*/ 5617029 w 5617029"/>
              <a:gd name="connsiteY3" fmla="*/ 584218 h 5630913"/>
              <a:gd name="connsiteX4" fmla="*/ 5595257 w 5617029"/>
              <a:gd name="connsiteY4" fmla="*/ 4861639 h 5630913"/>
              <a:gd name="connsiteX5" fmla="*/ 5141667 w 5617029"/>
              <a:gd name="connsiteY5" fmla="*/ 5630913 h 5630913"/>
              <a:gd name="connsiteX6" fmla="*/ 932561 w 5617029"/>
              <a:gd name="connsiteY6" fmla="*/ 5620028 h 5630913"/>
              <a:gd name="connsiteX7" fmla="*/ 0 w 5617029"/>
              <a:gd name="connsiteY7" fmla="*/ 4687467 h 5630913"/>
              <a:gd name="connsiteX8" fmla="*/ 0 w 5617029"/>
              <a:gd name="connsiteY8" fmla="*/ 932561 h 5630913"/>
              <a:gd name="connsiteX0" fmla="*/ 0 w 5617029"/>
              <a:gd name="connsiteY0" fmla="*/ 932561 h 5630914"/>
              <a:gd name="connsiteX1" fmla="*/ 932561 w 5617029"/>
              <a:gd name="connsiteY1" fmla="*/ 0 h 5630914"/>
              <a:gd name="connsiteX2" fmla="*/ 4967496 w 5617029"/>
              <a:gd name="connsiteY2" fmla="*/ 0 h 5630914"/>
              <a:gd name="connsiteX3" fmla="*/ 5617029 w 5617029"/>
              <a:gd name="connsiteY3" fmla="*/ 584218 h 5630914"/>
              <a:gd name="connsiteX4" fmla="*/ 5595257 w 5617029"/>
              <a:gd name="connsiteY4" fmla="*/ 4861639 h 5630914"/>
              <a:gd name="connsiteX5" fmla="*/ 5141667 w 5617029"/>
              <a:gd name="connsiteY5" fmla="*/ 5630913 h 5630914"/>
              <a:gd name="connsiteX6" fmla="*/ 671304 w 5617029"/>
              <a:gd name="connsiteY6" fmla="*/ 5630914 h 5630914"/>
              <a:gd name="connsiteX7" fmla="*/ 0 w 5617029"/>
              <a:gd name="connsiteY7" fmla="*/ 4687467 h 5630914"/>
              <a:gd name="connsiteX8" fmla="*/ 0 w 5617029"/>
              <a:gd name="connsiteY8" fmla="*/ 932561 h 5630914"/>
              <a:gd name="connsiteX0" fmla="*/ 10886 w 5627915"/>
              <a:gd name="connsiteY0" fmla="*/ 932561 h 5630914"/>
              <a:gd name="connsiteX1" fmla="*/ 943447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932561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573333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573333 h 5630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7915" h="5630914">
                <a:moveTo>
                  <a:pt x="10886" y="573333"/>
                </a:moveTo>
                <a:cubicBezTo>
                  <a:pt x="10886" y="58294"/>
                  <a:pt x="25637" y="0"/>
                  <a:pt x="540676" y="0"/>
                </a:cubicBezTo>
                <a:lnTo>
                  <a:pt x="4978382" y="0"/>
                </a:lnTo>
                <a:cubicBezTo>
                  <a:pt x="5493421" y="0"/>
                  <a:pt x="5627915" y="69179"/>
                  <a:pt x="5627915" y="584218"/>
                </a:cubicBezTo>
                <a:lnTo>
                  <a:pt x="5606143" y="4861639"/>
                </a:lnTo>
                <a:cubicBezTo>
                  <a:pt x="5606143" y="5376678"/>
                  <a:pt x="5667592" y="5630913"/>
                  <a:pt x="5152553" y="5630913"/>
                </a:cubicBezTo>
                <a:lnTo>
                  <a:pt x="682190" y="5630914"/>
                </a:lnTo>
                <a:cubicBezTo>
                  <a:pt x="167151" y="5630914"/>
                  <a:pt x="0" y="5594392"/>
                  <a:pt x="0" y="5079353"/>
                </a:cubicBezTo>
                <a:cubicBezTo>
                  <a:pt x="3629" y="3697089"/>
                  <a:pt x="7257" y="1955597"/>
                  <a:pt x="10886" y="573333"/>
                </a:cubicBezTo>
                <a:close/>
              </a:path>
            </a:pathLst>
          </a:cu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2" name="角丸四角形 3"/>
          <p:cNvSpPr/>
          <p:nvPr/>
        </p:nvSpPr>
        <p:spPr>
          <a:xfrm>
            <a:off x="6205608" y="866274"/>
            <a:ext cx="5836450" cy="2984161"/>
          </a:xfrm>
          <a:custGeom>
            <a:avLst/>
            <a:gdLst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687467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861639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6626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9674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617029"/>
              <a:gd name="connsiteY0" fmla="*/ 932561 h 5630913"/>
              <a:gd name="connsiteX1" fmla="*/ 932561 w 5617029"/>
              <a:gd name="connsiteY1" fmla="*/ 0 h 5630913"/>
              <a:gd name="connsiteX2" fmla="*/ 4967496 w 5617029"/>
              <a:gd name="connsiteY2" fmla="*/ 0 h 5630913"/>
              <a:gd name="connsiteX3" fmla="*/ 5617029 w 5617029"/>
              <a:gd name="connsiteY3" fmla="*/ 584218 h 5630913"/>
              <a:gd name="connsiteX4" fmla="*/ 5595257 w 5617029"/>
              <a:gd name="connsiteY4" fmla="*/ 4861639 h 5630913"/>
              <a:gd name="connsiteX5" fmla="*/ 5141667 w 5617029"/>
              <a:gd name="connsiteY5" fmla="*/ 5630913 h 5630913"/>
              <a:gd name="connsiteX6" fmla="*/ 932561 w 5617029"/>
              <a:gd name="connsiteY6" fmla="*/ 5620028 h 5630913"/>
              <a:gd name="connsiteX7" fmla="*/ 0 w 5617029"/>
              <a:gd name="connsiteY7" fmla="*/ 4687467 h 5630913"/>
              <a:gd name="connsiteX8" fmla="*/ 0 w 5617029"/>
              <a:gd name="connsiteY8" fmla="*/ 932561 h 5630913"/>
              <a:gd name="connsiteX0" fmla="*/ 0 w 5617029"/>
              <a:gd name="connsiteY0" fmla="*/ 932561 h 5630914"/>
              <a:gd name="connsiteX1" fmla="*/ 932561 w 5617029"/>
              <a:gd name="connsiteY1" fmla="*/ 0 h 5630914"/>
              <a:gd name="connsiteX2" fmla="*/ 4967496 w 5617029"/>
              <a:gd name="connsiteY2" fmla="*/ 0 h 5630914"/>
              <a:gd name="connsiteX3" fmla="*/ 5617029 w 5617029"/>
              <a:gd name="connsiteY3" fmla="*/ 584218 h 5630914"/>
              <a:gd name="connsiteX4" fmla="*/ 5595257 w 5617029"/>
              <a:gd name="connsiteY4" fmla="*/ 4861639 h 5630914"/>
              <a:gd name="connsiteX5" fmla="*/ 5141667 w 5617029"/>
              <a:gd name="connsiteY5" fmla="*/ 5630913 h 5630914"/>
              <a:gd name="connsiteX6" fmla="*/ 671304 w 5617029"/>
              <a:gd name="connsiteY6" fmla="*/ 5630914 h 5630914"/>
              <a:gd name="connsiteX7" fmla="*/ 0 w 5617029"/>
              <a:gd name="connsiteY7" fmla="*/ 4687467 h 5630914"/>
              <a:gd name="connsiteX8" fmla="*/ 0 w 5617029"/>
              <a:gd name="connsiteY8" fmla="*/ 932561 h 5630914"/>
              <a:gd name="connsiteX0" fmla="*/ 10886 w 5627915"/>
              <a:gd name="connsiteY0" fmla="*/ 932561 h 5630914"/>
              <a:gd name="connsiteX1" fmla="*/ 943447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932561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573333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573333 h 5630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7915" h="5630914">
                <a:moveTo>
                  <a:pt x="10886" y="573333"/>
                </a:moveTo>
                <a:cubicBezTo>
                  <a:pt x="10886" y="58294"/>
                  <a:pt x="25637" y="0"/>
                  <a:pt x="540676" y="0"/>
                </a:cubicBezTo>
                <a:lnTo>
                  <a:pt x="4978382" y="0"/>
                </a:lnTo>
                <a:cubicBezTo>
                  <a:pt x="5493421" y="0"/>
                  <a:pt x="5627915" y="69179"/>
                  <a:pt x="5627915" y="584218"/>
                </a:cubicBezTo>
                <a:lnTo>
                  <a:pt x="5606143" y="4861639"/>
                </a:lnTo>
                <a:cubicBezTo>
                  <a:pt x="5606143" y="5376678"/>
                  <a:pt x="5667592" y="5630913"/>
                  <a:pt x="5152553" y="5630913"/>
                </a:cubicBezTo>
                <a:lnTo>
                  <a:pt x="682190" y="5630914"/>
                </a:lnTo>
                <a:cubicBezTo>
                  <a:pt x="167151" y="5630914"/>
                  <a:pt x="0" y="5594392"/>
                  <a:pt x="0" y="5079353"/>
                </a:cubicBezTo>
                <a:cubicBezTo>
                  <a:pt x="3629" y="3697089"/>
                  <a:pt x="7257" y="1955597"/>
                  <a:pt x="10886" y="573333"/>
                </a:cubicBezTo>
                <a:close/>
              </a:path>
            </a:pathLst>
          </a:cu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6" name="正方形/長方形 25"/>
          <p:cNvSpPr/>
          <p:nvPr/>
        </p:nvSpPr>
        <p:spPr>
          <a:xfrm>
            <a:off x="311910" y="863300"/>
            <a:ext cx="27185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400" b="1" u="sng"/>
              <a:t>■</a:t>
            </a:r>
            <a:r>
              <a:rPr lang="en-US" altLang="ja-JP" sz="1400" b="1" u="sng"/>
              <a:t>Business Idea</a:t>
            </a:r>
            <a:endParaRPr lang="en-US" altLang="ja-JP" sz="1100" b="1" u="sng"/>
          </a:p>
        </p:txBody>
      </p:sp>
      <p:sp>
        <p:nvSpPr>
          <p:cNvPr id="28" name="テキスト ボックス 27"/>
          <p:cNvSpPr txBox="1"/>
          <p:nvPr/>
        </p:nvSpPr>
        <p:spPr>
          <a:xfrm>
            <a:off x="409159" y="1100042"/>
            <a:ext cx="5743511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en-US" altLang="ja-JP" sz="2400" b="1">
                <a:ea typeface="游ゴシック"/>
              </a:rPr>
              <a:t>『</a:t>
            </a:r>
            <a:r>
              <a:rPr lang="en-US" altLang="ja-JP" sz="2400" b="1">
                <a:ea typeface="游ゴシック"/>
              </a:rPr>
              <a:t>The Title</a:t>
            </a:r>
            <a:r>
              <a:rPr lang="ja-JP" altLang="en-US" sz="2400" b="1">
                <a:ea typeface="游ゴシック"/>
              </a:rPr>
              <a:t> </a:t>
            </a:r>
            <a:r>
              <a:rPr lang="en-US" altLang="ja-JP" sz="2400" b="1">
                <a:ea typeface="游ゴシック"/>
              </a:rPr>
              <a:t>of Business Idea</a:t>
            </a:r>
            <a:r>
              <a:rPr kumimoji="1" lang="en-US" altLang="ja-JP" sz="2400" b="1">
                <a:ea typeface="游ゴシック"/>
              </a:rPr>
              <a:t>』</a:t>
            </a:r>
            <a:endParaRPr kumimoji="1" lang="ja-JP" altLang="en-US" sz="2400" b="1">
              <a:ea typeface="游ゴシック"/>
            </a:endParaRPr>
          </a:p>
        </p:txBody>
      </p:sp>
      <p:sp>
        <p:nvSpPr>
          <p:cNvPr id="34" name="正方形/長方形 33"/>
          <p:cNvSpPr/>
          <p:nvPr/>
        </p:nvSpPr>
        <p:spPr>
          <a:xfrm>
            <a:off x="6394981" y="5122999"/>
            <a:ext cx="5558587" cy="3248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ja-JP" sz="1100">
                <a:solidFill>
                  <a:schemeClr val="tx1"/>
                </a:solidFill>
              </a:rPr>
              <a:t>x</a:t>
            </a:r>
            <a:r>
              <a:rPr kumimoji="1" lang="en-US" altLang="ja-JP" sz="1100">
                <a:solidFill>
                  <a:schemeClr val="tx1"/>
                </a:solidFill>
              </a:rPr>
              <a:t>xxxxxxxxxxxxxxxxxxxxxxxxxxxxxxxxxxxxxxxxxxxxxxxxxxxxxxxxxxxxxxxxxxxxxxxxxxxxxxxxxxxxxxxxxxxxxxxxxxxxxxxxxxxxxxxxxxxxxxxxxxxxxxxxxxxxxxxxxxxxxxxxxxxxxxxxxxxxxxxxxxxxxxxxxxxxxxxxxxxxxxxxxxxxxxxxxxxxxxxxxxxxxxxxxxxxxxxxxxxxxxxxxxx</a:t>
            </a:r>
            <a:endParaRPr kumimoji="1" lang="ja-JP" altLang="en-US" sz="1100">
              <a:solidFill>
                <a:schemeClr val="tx1"/>
              </a:solidFill>
            </a:endParaRPr>
          </a:p>
        </p:txBody>
      </p:sp>
      <p:sp>
        <p:nvSpPr>
          <p:cNvPr id="36" name="正方形/長方形 35"/>
          <p:cNvSpPr/>
          <p:nvPr/>
        </p:nvSpPr>
        <p:spPr>
          <a:xfrm>
            <a:off x="6359269" y="2775992"/>
            <a:ext cx="5609047" cy="3248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100">
                <a:solidFill>
                  <a:schemeClr val="tx1"/>
                </a:solidFill>
              </a:rPr>
              <a:t>xxxxxxxxxxxxxxxxxxxxxxxxxxxxxxxxxxxxxxxxxxxxxxxxxxxxxxxxxxxxxxxxxxxxxxxxxxxxxxxxxxxxxxxxxxxxxxxxxxxxxxxxxxxxxxxxxxxxxxxxxxxxxxxxxxxxxxxxxxxxxxxxxxxxxxxxxxxxxxxxxxxxxxxxxxxxxxxxxxxxxxxxxxxxxxxxxxxxxxxxxxxxxxxxxxxxxxxxxxxxxxxxx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ja-JP" sz="1100">
                <a:solidFill>
                  <a:schemeClr val="tx1"/>
                </a:solidFill>
              </a:rPr>
              <a:t>xxxxxxxxxxxxxxxxxxxxxxxxxxxxxxxxxxxxxxxxxxxxxxxxxxxxxxxxxxxxxxxxxxxxxxxxxxxxxxxxxxxxxxxxxxxxxxxxxxxxxxxxxxxxxxxxxxxxxxxxxxxxxxxxxxxxxxxxxxxxxxxxxxxxxxxxxxxxxxxxxxxxxxxxxxxxxxxxxxxxxxxxxxxxxxxxxxxxxxxxxxxxxxxxxxxxxxxxxxxxxxxxxxxx</a:t>
            </a:r>
            <a:endParaRPr lang="ja-JP" altLang="en-US" sz="110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ja-JP" altLang="en-US" sz="11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201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57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PPTテンプレート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A335"/>
      </a:accent1>
      <a:accent2>
        <a:srgbClr val="0588FE"/>
      </a:accent2>
      <a:accent3>
        <a:srgbClr val="FEA800"/>
      </a:accent3>
      <a:accent4>
        <a:srgbClr val="FFEF00"/>
      </a:accent4>
      <a:accent5>
        <a:srgbClr val="00D7FF"/>
      </a:accent5>
      <a:accent6>
        <a:srgbClr val="FE386E"/>
      </a:accent6>
      <a:hlink>
        <a:srgbClr val="0070E9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kumimoji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5460f3b-c5bc-4e79-8ef0-c103c7c78c0f" xsi:nil="true"/>
    <lcf76f155ced4ddcb4097134ff3c332f xmlns="7b7b4772-db12-4637-b123-cf59eff2c645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55AAC9D7B32BBD4F889ACAA2ECBF6C08" ma:contentTypeVersion="11" ma:contentTypeDescription="新しいドキュメントを作成します。" ma:contentTypeScope="" ma:versionID="59bae18ba4928a499883545cc69ec98c">
  <xsd:schema xmlns:xsd="http://www.w3.org/2001/XMLSchema" xmlns:xs="http://www.w3.org/2001/XMLSchema" xmlns:p="http://schemas.microsoft.com/office/2006/metadata/properties" xmlns:ns2="7b7b4772-db12-4637-b123-cf59eff2c645" xmlns:ns3="85460f3b-c5bc-4e79-8ef0-c103c7c78c0f" targetNamespace="http://schemas.microsoft.com/office/2006/metadata/properties" ma:root="true" ma:fieldsID="eb40be15b87048a05043575bbb59299e" ns2:_="" ns3:_="">
    <xsd:import namespace="7b7b4772-db12-4637-b123-cf59eff2c645"/>
    <xsd:import namespace="85460f3b-c5bc-4e79-8ef0-c103c7c78c0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7b4772-db12-4637-b123-cf59eff2c6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画像タグ" ma:readOnly="false" ma:fieldId="{5cf76f15-5ced-4ddc-b409-7134ff3c332f}" ma:taxonomyMulti="true" ma:sspId="32b1e78d-7ee1-444c-bd45-f63634bf9e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460f3b-c5bc-4e79-8ef0-c103c7c78c0f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97863281-4310-4173-aec3-dab539f81a98}" ma:internalName="TaxCatchAll" ma:showField="CatchAllData" ma:web="85460f3b-c5bc-4e79-8ef0-c103c7c78c0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317925-02EF-48F0-8E57-1E068EBFCE2C}">
  <ds:schemaRefs>
    <ds:schemaRef ds:uri="266223e7-1b3d-4f8d-8f32-8a059fcfbbcd"/>
    <ds:schemaRef ds:uri="f28ff907-6235-4453-b865-e6d45a0b5ba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A88AAA9-D920-4B6D-80B8-F9A8D97E88B5}"/>
</file>

<file path=customXml/itemProps3.xml><?xml version="1.0" encoding="utf-8"?>
<ds:datastoreItem xmlns:ds="http://schemas.openxmlformats.org/officeDocument/2006/customXml" ds:itemID="{68E12655-016C-46DB-863C-487977316DE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5</Words>
  <Application>Microsoft Office PowerPoint</Application>
  <PresentationFormat>ワイド画面</PresentationFormat>
  <Paragraphs>21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0" baseType="lpstr">
      <vt:lpstr>MS PGothic</vt:lpstr>
      <vt:lpstr>Meiryo</vt:lpstr>
      <vt:lpstr>Meiryo</vt:lpstr>
      <vt:lpstr>游ゴシック</vt:lpstr>
      <vt:lpstr>游ゴシック</vt:lpstr>
      <vt:lpstr>游ゴシック Light</vt:lpstr>
      <vt:lpstr>Arial</vt:lpstr>
      <vt:lpstr>Office テーマ</vt:lpstr>
      <vt:lpstr>think-cellスライド</vt:lpstr>
      <vt:lpstr>Application Form（Open Category）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Mitsuhiro Hamano</dc:creator>
  <cp:lastModifiedBy>岡村 知也</cp:lastModifiedBy>
  <cp:revision>2</cp:revision>
  <cp:lastPrinted>2024-10-07T03:04:31Z</cp:lastPrinted>
  <dcterms:created xsi:type="dcterms:W3CDTF">2023-10-24T08:20:18Z</dcterms:created>
  <dcterms:modified xsi:type="dcterms:W3CDTF">2025-05-29T23:3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5AAC9D7B32BBD4F889ACAA2ECBF6C08</vt:lpwstr>
  </property>
</Properties>
</file>